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  <p:sldId id="259" r:id="rId5"/>
  </p:sldIdLst>
  <p:sldSz cx="12192000" cy="6858000"/>
  <p:notesSz cx="6858000" cy="9144000"/>
  <p:custDataLst>
    <p:tags r:id="rId6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7" d="100"/>
          <a:sy n="107" d="100"/>
        </p:scale>
        <p:origin x="71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FAE1A5-7101-4A42-AFAB-E3D58FA5FD29}" type="datetimeFigureOut">
              <a:rPr lang="ru-RU" smtClean="0"/>
              <a:t>12.09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7CB555-A1BB-4A68-84AB-41C4B60E41B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54241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FAE1A5-7101-4A42-AFAB-E3D58FA5FD29}" type="datetimeFigureOut">
              <a:rPr lang="ru-RU" smtClean="0"/>
              <a:t>12.09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7CB555-A1BB-4A68-84AB-41C4B60E41B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571825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FAE1A5-7101-4A42-AFAB-E3D58FA5FD29}" type="datetimeFigureOut">
              <a:rPr lang="ru-RU" smtClean="0"/>
              <a:t>12.09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7CB555-A1BB-4A68-84AB-41C4B60E41B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286501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FAE1A5-7101-4A42-AFAB-E3D58FA5FD29}" type="datetimeFigureOut">
              <a:rPr lang="ru-RU" smtClean="0"/>
              <a:t>12.09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7CB555-A1BB-4A68-84AB-41C4B60E41B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091390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FAE1A5-7101-4A42-AFAB-E3D58FA5FD29}" type="datetimeFigureOut">
              <a:rPr lang="ru-RU" smtClean="0"/>
              <a:t>12.09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7CB555-A1BB-4A68-84AB-41C4B60E41B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20027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FAE1A5-7101-4A42-AFAB-E3D58FA5FD29}" type="datetimeFigureOut">
              <a:rPr lang="ru-RU" smtClean="0"/>
              <a:t>12.09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7CB555-A1BB-4A68-84AB-41C4B60E41B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928840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FAE1A5-7101-4A42-AFAB-E3D58FA5FD29}" type="datetimeFigureOut">
              <a:rPr lang="ru-RU" smtClean="0"/>
              <a:t>12.09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7CB555-A1BB-4A68-84AB-41C4B60E41B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443776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FAE1A5-7101-4A42-AFAB-E3D58FA5FD29}" type="datetimeFigureOut">
              <a:rPr lang="ru-RU" smtClean="0"/>
              <a:t>12.09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7CB555-A1BB-4A68-84AB-41C4B60E41B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428067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FAE1A5-7101-4A42-AFAB-E3D58FA5FD29}" type="datetimeFigureOut">
              <a:rPr lang="ru-RU" smtClean="0"/>
              <a:t>12.09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7CB555-A1BB-4A68-84AB-41C4B60E41B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60442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FAE1A5-7101-4A42-AFAB-E3D58FA5FD29}" type="datetimeFigureOut">
              <a:rPr lang="ru-RU" smtClean="0"/>
              <a:t>12.09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7CB555-A1BB-4A68-84AB-41C4B60E41B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2805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FAE1A5-7101-4A42-AFAB-E3D58FA5FD29}" type="datetimeFigureOut">
              <a:rPr lang="ru-RU" smtClean="0"/>
              <a:t>12.09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7CB555-A1BB-4A68-84AB-41C4B60E41B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132985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8878705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Слайд think-cell" r:id="rId15" imgW="353" imgH="318" progId="TCLayout.ActiveDocument.1">
                  <p:embed/>
                </p:oleObj>
              </mc:Choice>
              <mc:Fallback>
                <p:oleObj name="Слайд think-cell" r:id="rId15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FAE1A5-7101-4A42-AFAB-E3D58FA5FD29}" type="datetimeFigureOut">
              <a:rPr lang="ru-RU" smtClean="0"/>
              <a:t>12.09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7CB555-A1BB-4A68-84AB-41C4B60E41B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090376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5576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Слайд think-cell" r:id="rId4" imgW="353" imgH="318" progId="TCLayout.ActiveDocument.1">
                  <p:embed/>
                </p:oleObj>
              </mc:Choice>
              <mc:Fallback>
                <p:oleObj name="Слайд think-cell" r:id="rId4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pPr algn="ctr"/>
            <a:r>
              <a:rPr lang="ru-RU" sz="4800" b="1" dirty="0" smtClean="0">
                <a:solidFill>
                  <a:schemeClr val="accent1">
                    <a:lumMod val="75000"/>
                  </a:schemeClr>
                </a:solidFill>
                <a:effectLst>
                  <a:glow rad="63500">
                    <a:schemeClr val="accent5">
                      <a:satMod val="175000"/>
                      <a:alpha val="40000"/>
                    </a:schemeClr>
                  </a:glow>
                </a:effectLst>
              </a:rPr>
              <a:t>Проведите Ваш платеж ОНЛАЙН!</a:t>
            </a:r>
            <a:endParaRPr lang="ru-RU" sz="4800" b="1" dirty="0">
              <a:solidFill>
                <a:schemeClr val="accent1">
                  <a:lumMod val="75000"/>
                </a:schemeClr>
              </a:solidFill>
              <a:effectLst>
                <a:glow rad="63500">
                  <a:schemeClr val="accent5">
                    <a:satMod val="175000"/>
                    <a:alpha val="40000"/>
                  </a:schemeClr>
                </a:glow>
              </a:effectLst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776078" y="-5661387"/>
            <a:ext cx="107264" cy="755263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60260" y="1825625"/>
            <a:ext cx="5943600" cy="4351338"/>
          </a:xfrm>
        </p:spPr>
        <p:txBody>
          <a:bodyPr/>
          <a:lstStyle/>
          <a:p>
            <a:pPr marL="514350" indent="-514350">
              <a:buAutoNum type="arabicPeriod"/>
            </a:pPr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</a:rPr>
              <a:t>Войдите в Ваш личный кабинет ГПБ (АО)</a:t>
            </a:r>
          </a:p>
          <a:p>
            <a:pPr marL="514350" indent="-514350">
              <a:buAutoNum type="arabicPeriod"/>
            </a:pPr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</a:rPr>
              <a:t>На Главной странице Выберите карту с которой будем   проводить оплату</a:t>
            </a:r>
          </a:p>
          <a:p>
            <a:pPr marL="514350" indent="-514350">
              <a:buAutoNum type="arabicPeriod"/>
            </a:pPr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</a:rPr>
              <a:t>Нажмите на карту</a:t>
            </a:r>
            <a:endParaRPr lang="ru-RU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1026" name="Picture 2" descr="ae1618c3-65eb-481f-8e78-b1445c3905e5@gazprombank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065" r="2065"/>
          <a:stretch/>
        </p:blipFill>
        <p:spPr bwMode="auto">
          <a:xfrm>
            <a:off x="1001020" y="1613646"/>
            <a:ext cx="2480362" cy="492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Стрелка влево 10"/>
          <p:cNvSpPr/>
          <p:nvPr/>
        </p:nvSpPr>
        <p:spPr>
          <a:xfrm rot="21367753">
            <a:off x="2835620" y="2034988"/>
            <a:ext cx="585999" cy="376517"/>
          </a:xfrm>
          <a:prstGeom prst="leftArrow">
            <a:avLst/>
          </a:prstGeom>
          <a:ln>
            <a:noFill/>
          </a:ln>
          <a:effectLst>
            <a:outerShdw blurRad="127000" dist="38100" dir="2700000" algn="ctr">
              <a:srgbClr val="000000">
                <a:alpha val="45000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63474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9212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Слайд think-cell" r:id="rId4" imgW="353" imgH="318" progId="TCLayout.ActiveDocument.1">
                  <p:embed/>
                </p:oleObj>
              </mc:Choice>
              <mc:Fallback>
                <p:oleObj name="Слайд think-cell" r:id="rId4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526307" y="365125"/>
            <a:ext cx="4827494" cy="6026710"/>
          </a:xfrm>
        </p:spPr>
        <p:txBody>
          <a:bodyPr vert="horz"/>
          <a:lstStyle/>
          <a:p>
            <a:r>
              <a:rPr lang="ru-RU" sz="28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1. </a:t>
            </a:r>
            <a:r>
              <a:rPr lang="ru-RU" sz="2800" b="1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Нажмите «ПЕРЕВЕСТИ</a:t>
            </a:r>
            <a:r>
              <a:rPr lang="ru-RU" sz="28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»</a:t>
            </a:r>
            <a:br>
              <a:rPr lang="ru-RU" sz="28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</a:br>
            <a:r>
              <a:rPr lang="ru-RU" sz="2800" b="1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/>
            </a:r>
            <a:br>
              <a:rPr lang="ru-RU" sz="2800" b="1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</a:br>
            <a:r>
              <a:rPr lang="ru-RU" sz="28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2. Выбираем «По реквизитам</a:t>
            </a:r>
            <a:endParaRPr lang="ru-RU" sz="2800" b="1" dirty="0">
              <a:solidFill>
                <a:schemeClr val="accent1">
                  <a:lumMod val="75000"/>
                </a:schemeClr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50" name="Picture 2" descr="7ed64a86-5f80-44a6-bf22-12112620c957@gazprombank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1356" b="26744"/>
          <a:stretch/>
        </p:blipFill>
        <p:spPr bwMode="auto">
          <a:xfrm>
            <a:off x="348286" y="484701"/>
            <a:ext cx="2619935" cy="48851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Стрелка влево 24"/>
          <p:cNvSpPr/>
          <p:nvPr/>
        </p:nvSpPr>
        <p:spPr>
          <a:xfrm rot="21367753">
            <a:off x="2065143" y="2531413"/>
            <a:ext cx="585999" cy="376517"/>
          </a:xfrm>
          <a:prstGeom prst="leftArrow">
            <a:avLst/>
          </a:prstGeom>
          <a:ln>
            <a:noFill/>
          </a:ln>
          <a:effectLst>
            <a:outerShdw blurRad="127000" dist="38100" dir="2700000" algn="ctr">
              <a:srgbClr val="000000">
                <a:alpha val="45000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052" name="Picture 4" descr="93f1a342-0a51-41a1-b1e6-81c2e6310b7c@gazprombank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4387" y="484700"/>
            <a:ext cx="2625753" cy="48675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Стрелка влево 26"/>
          <p:cNvSpPr/>
          <p:nvPr/>
        </p:nvSpPr>
        <p:spPr>
          <a:xfrm rot="21367753">
            <a:off x="4768694" y="4593294"/>
            <a:ext cx="585999" cy="376517"/>
          </a:xfrm>
          <a:prstGeom prst="leftArrow">
            <a:avLst/>
          </a:prstGeom>
          <a:ln>
            <a:noFill/>
          </a:ln>
          <a:effectLst>
            <a:outerShdw blurRad="127000" dist="38100" dir="2700000" algn="ctr">
              <a:srgbClr val="000000">
                <a:alpha val="45000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2075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033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Слайд think-cell" r:id="rId4" imgW="353" imgH="318" progId="TCLayout.ActiveDocument.1">
                  <p:embed/>
                </p:oleObj>
              </mc:Choice>
              <mc:Fallback>
                <p:oleObj name="Слайд think-cell" r:id="rId4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28507" y="1425388"/>
            <a:ext cx="5775234" cy="4319028"/>
          </a:xfrm>
        </p:spPr>
        <p:txBody>
          <a:bodyPr vert="horz">
            <a:normAutofit/>
          </a:bodyPr>
          <a:lstStyle/>
          <a:p>
            <a:r>
              <a:rPr lang="ru-RU" sz="2800" b="1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1. </a:t>
            </a:r>
            <a:r>
              <a:rPr lang="ru-RU" sz="28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Выбираем «карту списания»</a:t>
            </a:r>
            <a:br>
              <a:rPr lang="ru-RU" sz="28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</a:br>
            <a:r>
              <a:rPr lang="ru-RU" sz="28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/>
            </a:r>
            <a:br>
              <a:rPr lang="ru-RU" sz="28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</a:br>
            <a:r>
              <a:rPr lang="ru-RU" sz="28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2. Вводим БИК </a:t>
            </a:r>
            <a:r>
              <a:rPr lang="ru-RU" sz="2800" b="1" u="sng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044525823</a:t>
            </a:r>
            <a:br>
              <a:rPr lang="ru-RU" sz="2800" b="1" u="sng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</a:br>
            <a:r>
              <a:rPr lang="ru-RU" sz="2800" b="1" u="sng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/>
            </a:r>
            <a:br>
              <a:rPr lang="ru-RU" sz="2800" b="1" u="sng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</a:br>
            <a:r>
              <a:rPr lang="ru-RU" sz="28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3.</a:t>
            </a:r>
            <a:r>
              <a:rPr lang="ru-RU" sz="2800" b="1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28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Вводим</a:t>
            </a:r>
            <a:r>
              <a:rPr lang="ru-RU" sz="2800" b="1" u="sng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 ИНН учебного заведения 8904025405 (наименование выйдет автоматически)</a:t>
            </a:r>
            <a:endParaRPr lang="ru-RU" sz="2800" b="1" u="sng" dirty="0">
              <a:solidFill>
                <a:schemeClr val="accent1">
                  <a:lumMod val="75000"/>
                </a:schemeClr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4098" name="Picture 2" descr="f7dee7c1-63af-4352-b726-dcc7d9609b88@gazprombank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414"/>
          <a:stretch/>
        </p:blipFill>
        <p:spPr bwMode="auto">
          <a:xfrm>
            <a:off x="652464" y="1027906"/>
            <a:ext cx="2718265" cy="47184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Стрелка влево 4"/>
          <p:cNvSpPr/>
          <p:nvPr/>
        </p:nvSpPr>
        <p:spPr>
          <a:xfrm rot="21367753">
            <a:off x="2772690" y="2585202"/>
            <a:ext cx="585999" cy="376517"/>
          </a:xfrm>
          <a:prstGeom prst="leftArrow">
            <a:avLst/>
          </a:prstGeom>
          <a:ln>
            <a:noFill/>
          </a:ln>
          <a:effectLst>
            <a:outerShdw blurRad="127000" dist="38100" dir="2700000" algn="ctr">
              <a:srgbClr val="000000">
                <a:alpha val="45000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100" name="Picture 4" descr="005f4afb-3d48-4317-8ad5-e6e04be91dd1@gazprombank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73" b="3774"/>
          <a:stretch/>
        </p:blipFill>
        <p:spPr bwMode="auto">
          <a:xfrm>
            <a:off x="3485309" y="1027905"/>
            <a:ext cx="2628619" cy="4716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Заголовок 1"/>
          <p:cNvSpPr txBox="1">
            <a:spLocks/>
          </p:cNvSpPr>
          <p:nvPr/>
        </p:nvSpPr>
        <p:spPr>
          <a:xfrm>
            <a:off x="804864" y="455979"/>
            <a:ext cx="7362092" cy="4877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b="1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1. Выбираем «Юридическому лицу или ИП»</a:t>
            </a:r>
            <a:endParaRPr lang="ru-RU" sz="2800" b="1" dirty="0">
              <a:solidFill>
                <a:schemeClr val="accent1">
                  <a:lumMod val="75000"/>
                </a:schemeClr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910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3853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Слайд think-cell" r:id="rId4" imgW="353" imgH="318" progId="TCLayout.ActiveDocument.1">
                  <p:embed/>
                </p:oleObj>
              </mc:Choice>
              <mc:Fallback>
                <p:oleObj name="Слайд think-cell" r:id="rId4" imgW="353" imgH="31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54071" y="455979"/>
            <a:ext cx="7449671" cy="6096090"/>
          </a:xfrm>
        </p:spPr>
        <p:txBody>
          <a:bodyPr vert="horz">
            <a:normAutofit fontScale="90000"/>
          </a:bodyPr>
          <a:lstStyle/>
          <a:p>
            <a:r>
              <a:rPr lang="ru-RU" sz="2400" b="1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1. </a:t>
            </a:r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Вводим номер счета в банке - получателе </a:t>
            </a:r>
            <a:b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</a:br>
            <a:r>
              <a:rPr lang="ru-RU" sz="2400" b="1" u="sng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40703810100000002267</a:t>
            </a:r>
            <a:br>
              <a:rPr lang="ru-RU" sz="2400" b="1" u="sng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</a:br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/>
            </a:r>
            <a:b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</a:br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2. Прописываем назначение платежа</a:t>
            </a:r>
            <a:b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</a:br>
            <a:r>
              <a:rPr lang="ru-RU" sz="2400" b="1" u="sng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Ф.И.О. студента</a:t>
            </a:r>
            <a:br>
              <a:rPr lang="ru-RU" sz="2400" b="1" u="sng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</a:br>
            <a:r>
              <a:rPr lang="ru-RU" sz="2400" b="1" u="sng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№ группы</a:t>
            </a:r>
            <a:br>
              <a:rPr lang="ru-RU" sz="2400" b="1" u="sng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</a:br>
            <a:r>
              <a:rPr lang="ru-RU" sz="2400" b="1" u="sng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Форма обучения (очное/заочное)</a:t>
            </a:r>
            <a:br>
              <a:rPr lang="ru-RU" sz="2400" b="1" u="sng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</a:br>
            <a:r>
              <a:rPr lang="ru-RU" sz="2400" b="1" u="sng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Период обучения (1 полугодие, год и </a:t>
            </a:r>
            <a:r>
              <a:rPr lang="ru-RU" sz="2400" b="1" u="sng" dirty="0" err="1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тд</a:t>
            </a:r>
            <a:r>
              <a:rPr lang="ru-RU" sz="2400" b="1" u="sng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.)</a:t>
            </a:r>
            <a:br>
              <a:rPr lang="ru-RU" sz="2400" b="1" u="sng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</a:br>
            <a:r>
              <a:rPr lang="ru-RU" sz="2400" b="1" u="sng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№ и дата договора.</a:t>
            </a:r>
            <a:br>
              <a:rPr lang="ru-RU" sz="2400" b="1" u="sng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</a:br>
            <a:r>
              <a:rPr lang="ru-RU" sz="2400" b="1" u="sng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/>
            </a:r>
            <a:br>
              <a:rPr lang="ru-RU" sz="2400" b="1" u="sng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</a:br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3.</a:t>
            </a:r>
            <a:r>
              <a:rPr lang="ru-RU" sz="2400" b="1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Вводим сумму платежа</a:t>
            </a:r>
            <a:b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</a:br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/>
            </a:r>
            <a:b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</a:br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4. Нажимаем «Продолжить» подтверждаем перевод.</a:t>
            </a:r>
            <a:b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</a:br>
            <a:r>
              <a:rPr lang="ru-RU" sz="2400" b="1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/>
            </a:r>
            <a:br>
              <a:rPr lang="ru-RU" sz="2400" b="1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</a:br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5. Далее можно получить чек и сохранить шаблон.</a:t>
            </a:r>
            <a:b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</a:br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/>
            </a:r>
            <a:b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</a:br>
            <a:r>
              <a:rPr lang="ru-RU" sz="2400" b="1" dirty="0" smtClean="0">
                <a:solidFill>
                  <a:srgbClr val="FF0000"/>
                </a:solidFill>
                <a:latin typeface="+mn-lt"/>
                <a:ea typeface="+mn-ea"/>
                <a:cs typeface="+mn-cs"/>
              </a:rPr>
              <a:t>ПЕРЕД ОСУЩЕСТВЛЕНИЕМ ПЕРЕВОДА ПО ШАБЛОНУ </a:t>
            </a:r>
            <a:br>
              <a:rPr lang="ru-RU" sz="2400" b="1" dirty="0" smtClean="0">
                <a:solidFill>
                  <a:srgbClr val="FF0000"/>
                </a:solidFill>
                <a:latin typeface="+mn-lt"/>
                <a:ea typeface="+mn-ea"/>
                <a:cs typeface="+mn-cs"/>
              </a:rPr>
            </a:br>
            <a:r>
              <a:rPr lang="ru-RU" sz="2400" b="1" dirty="0" smtClean="0">
                <a:solidFill>
                  <a:srgbClr val="FF0000"/>
                </a:solidFill>
                <a:latin typeface="+mn-lt"/>
                <a:ea typeface="+mn-ea"/>
                <a:cs typeface="+mn-cs"/>
              </a:rPr>
              <a:t>ОБЯЗАТЕЛЬНО СВЕРЯЕМ РЕКВИЗИТЫ НА АКТУАЛЬНОСТЬ </a:t>
            </a:r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endParaRPr lang="ru-RU" sz="2400" b="1" dirty="0">
              <a:solidFill>
                <a:schemeClr val="accent1">
                  <a:lumMod val="7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6" name="Заголовок 1"/>
          <p:cNvSpPr txBox="1">
            <a:spLocks/>
          </p:cNvSpPr>
          <p:nvPr/>
        </p:nvSpPr>
        <p:spPr>
          <a:xfrm>
            <a:off x="804864" y="455979"/>
            <a:ext cx="7362092" cy="4877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2800" b="1" dirty="0">
              <a:solidFill>
                <a:schemeClr val="accent1">
                  <a:lumMod val="75000"/>
                </a:schemeClr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5123" name="Picture 3" descr="cebb23b2-24ee-4493-8490-d3e9bdb5acea@gazprombank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232" b="4461"/>
          <a:stretch/>
        </p:blipFill>
        <p:spPr bwMode="auto">
          <a:xfrm>
            <a:off x="403817" y="1139649"/>
            <a:ext cx="3038630" cy="54124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72214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6</TotalTime>
  <Words>169</Words>
  <Application>Microsoft Office PowerPoint</Application>
  <PresentationFormat>Широкоэкранный</PresentationFormat>
  <Paragraphs>8</Paragraphs>
  <Slides>4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</vt:i4>
      </vt:variant>
    </vt:vector>
  </HeadingPairs>
  <TitlesOfParts>
    <vt:vector size="9" baseType="lpstr">
      <vt:lpstr>Arial</vt:lpstr>
      <vt:lpstr>Calibri</vt:lpstr>
      <vt:lpstr>Calibri Light</vt:lpstr>
      <vt:lpstr>Тема Office</vt:lpstr>
      <vt:lpstr>Слайд think-cell</vt:lpstr>
      <vt:lpstr>Проведите Ваш платеж ОНЛАЙН!</vt:lpstr>
      <vt:lpstr>1. Нажмите «ПЕРЕВЕСТИ»  2. Выбираем «По реквизитам</vt:lpstr>
      <vt:lpstr>1. Выбираем «карту списания»  2. Вводим БИК 044525823  3. Вводим ИНН учебного заведения 8904025405 (наименование выйдет автоматически)</vt:lpstr>
      <vt:lpstr>1. Вводим номер счета в банке - получателе  40703810100000002267  2. Прописываем назначение платежа Ф.И.О. студента № группы Форма обучения (очное/заочное) Период обучения (1 полугодие, год и тд.) № и дата договора.  3. Вводим сумму платежа  4. Нажимаем «Продолжить» подтверждаем перевод.  5. Далее можно получить чек и сохранить шаблон.  ПЕРЕД ОСУЩЕСТВЛЕНИЕМ ПЕРЕВОДА ПО ШАБЛОНУ  ОБЯЗАТЕЛЬНО СВЕРЯЕМ РЕКВИЗИТЫ НА АКТУАЛЬНОСТЬ 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оведите Ваш платеж ОНЛАЙН!</dc:title>
  <dc:creator>Маслова Анна Игоревна</dc:creator>
  <cp:lastModifiedBy>Маслова Анна Игоревна</cp:lastModifiedBy>
  <cp:revision>6</cp:revision>
  <dcterms:created xsi:type="dcterms:W3CDTF">2023-09-12T11:30:25Z</dcterms:created>
  <dcterms:modified xsi:type="dcterms:W3CDTF">2023-09-12T12:16:57Z</dcterms:modified>
</cp:coreProperties>
</file>